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5"/>
  </p:notesMasterIdLst>
  <p:handoutMasterIdLst>
    <p:handoutMasterId r:id="rId16"/>
  </p:handoutMasterIdLst>
  <p:sldIdLst>
    <p:sldId id="311" r:id="rId4"/>
    <p:sldId id="340" r:id="rId5"/>
    <p:sldId id="382" r:id="rId6"/>
    <p:sldId id="379" r:id="rId7"/>
    <p:sldId id="383" r:id="rId8"/>
    <p:sldId id="385" r:id="rId9"/>
    <p:sldId id="384" r:id="rId10"/>
    <p:sldId id="386" r:id="rId11"/>
    <p:sldId id="387" r:id="rId12"/>
    <p:sldId id="329" r:id="rId13"/>
    <p:sldId id="381" r:id="rId14"/>
  </p:sldIdLst>
  <p:sldSz cx="9906000" cy="6858000" type="A4"/>
  <p:notesSz cx="6896100" cy="10033000"/>
  <p:custDataLst>
    <p:tags r:id="rId1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>
        <p:scale>
          <a:sx n="80" d="100"/>
          <a:sy n="80" d="100"/>
        </p:scale>
        <p:origin x="-2574" y="-71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5/3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podstawy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podstawy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podstawy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podstawy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Bot_podstawy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Bot_podstawy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podstawy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Bot_podstawy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9.jpe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1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4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9.jpe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7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pl-PL" sz="4400" dirty="0" err="1" smtClean="0">
                <a:effectLst/>
                <a:latin typeface="Comic Sans MS"/>
              </a:rPr>
              <a:t>mBot</a:t>
            </a:r>
            <a:endParaRPr lang="en-GB" dirty="0"/>
          </a:p>
        </p:txBody>
      </p:sp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pl-PL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Podstawy i nie tylko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8" name="Picture 6" descr="Warsztat 10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11355" y="4365130"/>
            <a:ext cx="1838325" cy="1828800"/>
          </a:xfrm>
          <a:prstGeom prst="rect">
            <a:avLst/>
          </a:prstGeom>
          <a:noFill/>
        </p:spPr>
      </p:pic>
      <p:pic>
        <p:nvPicPr>
          <p:cNvPr id="2" name="Picture 4" descr="http://static1.squarespace.com/static/55c1e26ee4b09ad05fa39502/56543d0de4b0eb26e638ed0f/56543d0de4b036d0d6dfbef7/1448361238381/Makeblock-LOGO.png?format=500w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62510" y="265529"/>
            <a:ext cx="4762500" cy="1219201"/>
          </a:xfrm>
          <a:prstGeom prst="rect">
            <a:avLst/>
          </a:prstGeom>
          <a:noFill/>
        </p:spPr>
      </p:pic>
      <p:pic>
        <p:nvPicPr>
          <p:cNvPr id="75782" name="Picture 6" descr="http://gmii.weebly.com/uploads/2/0/6/2/20622502/2494430_orig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44360" y="5085230"/>
            <a:ext cx="1219200" cy="1219201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podstawy.pptx</a:t>
            </a:r>
            <a:endParaRPr lang="de-DE" dirty="0"/>
          </a:p>
        </p:txBody>
      </p:sp>
      <p:pic>
        <p:nvPicPr>
          <p:cNvPr id="2560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28580" y="1340710"/>
            <a:ext cx="18288000" cy="1028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/>
              <a:t>mBot</a:t>
            </a:r>
            <a:r>
              <a:rPr lang="pl-PL" dirty="0" smtClean="0"/>
              <a:t> i </a:t>
            </a:r>
            <a:r>
              <a:rPr lang="pl-PL" dirty="0" err="1" smtClean="0"/>
              <a:t>mBlock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podstaw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37220" name="Picture 4" descr="http://makeblock.com/image/cache/catalog/u/830/mBot3__93940-800x8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8380" y="1484730"/>
            <a:ext cx="4680650" cy="4680650"/>
          </a:xfrm>
          <a:prstGeom prst="rect">
            <a:avLst/>
          </a:prstGeom>
          <a:noFill/>
        </p:spPr>
      </p:pic>
      <p:pic>
        <p:nvPicPr>
          <p:cNvPr id="137221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41040" y="2060810"/>
            <a:ext cx="3827930" cy="3340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2288630" y="5589300"/>
            <a:ext cx="1023037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 err="1" smtClean="0"/>
              <a:t>mBot</a:t>
            </a:r>
            <a:endParaRPr lang="en-US" sz="28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6681240" y="5589300"/>
            <a:ext cx="1362874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 err="1" smtClean="0"/>
              <a:t>mBlock</a:t>
            </a:r>
            <a:endParaRPr lang="en-US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70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[01] </a:t>
            </a:r>
            <a:r>
              <a:rPr lang="pl-PL" dirty="0" err="1" smtClean="0"/>
              <a:t>Dzwię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podstaw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osiada mały głośniczek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buzzer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 Tak możemy wydawać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zwięki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o różnej wysokości i długości: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5702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872850" y="2996940"/>
            <a:ext cx="2276475" cy="187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88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[02] Diody RGB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podstaw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osiada dwie diody RGB. Tak możemy błyskać diodami na różne kolory: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883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76670" y="2708900"/>
            <a:ext cx="4695825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80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[03] Pilot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podstaw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osiada pilota. Tak możemy zapalać diody za pomocą przycisków A, B i C: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76670" y="2492870"/>
            <a:ext cx="4876800" cy="300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00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[04] </a:t>
            </a:r>
            <a:r>
              <a:rPr lang="pl-PL" dirty="0" smtClean="0"/>
              <a:t>Silni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podstaw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osiad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wa silniki.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ak możemy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uszać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em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: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60100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38538" y="2305050"/>
            <a:ext cx="2828925" cy="224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90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[05] </a:t>
            </a:r>
            <a:r>
              <a:rPr lang="pl-PL" dirty="0" smtClean="0"/>
              <a:t>Sonar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podstaw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osiad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onar.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ak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rywać przeszkody: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5907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216620" y="1916790"/>
            <a:ext cx="5210175" cy="431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11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[06] Zdalnie sterowany </a:t>
            </a:r>
            <a:r>
              <a:rPr lang="pl-PL" dirty="0" smtClean="0"/>
              <a:t>robot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podstaw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wórzcie program, aby możn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było sterować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em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a pomocą pilota.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rzystajci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liwie dużo poznanych czujników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1" name="Picture 4" descr="http://makeblock.com/image/cache/catalog/u/830/mBot3__93940-800x8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0390" y="2636890"/>
            <a:ext cx="3168440" cy="3168440"/>
          </a:xfrm>
          <a:prstGeom prst="rect">
            <a:avLst/>
          </a:prstGeom>
          <a:noFill/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321190" y="2996940"/>
            <a:ext cx="2603760" cy="2272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1124" name="Picture 4" descr="http://learn.makeblock.com/wp-content/uploads/2016/01/%E5%BE%AE%E4%BF%A1%E6%88%AA%E5%9B%BE_20160128171741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584810" y="3068950"/>
            <a:ext cx="2466975" cy="208597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[06] Robot śledzący </a:t>
            </a:r>
            <a:r>
              <a:rPr lang="pl-PL" dirty="0" smtClean="0"/>
              <a:t>linię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podstaw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wórzcie program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ażący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owi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śledzić linię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262148" name="AutoShape 4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0" name="AutoShape 6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2" name="AutoShape 8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4" name="AutoShape 10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6" name="AutoShape 12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8" name="AutoShape 14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62159" name="Picture 15" descr="C:\Users\jczas\Downloads\lf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73100" y="1268700"/>
            <a:ext cx="3757015" cy="4920355"/>
          </a:xfrm>
          <a:prstGeom prst="rect">
            <a:avLst/>
          </a:prstGeom>
          <a:noFill/>
        </p:spPr>
      </p:pic>
      <p:pic>
        <p:nvPicPr>
          <p:cNvPr id="15" name="Picture 4" descr="http://makeblock.com/image/cache/catalog/u/830/mBot3__93940-800x800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0390" y="2636890"/>
            <a:ext cx="3168440" cy="31684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5</Words>
  <Application>Microsoft Office PowerPoint</Application>
  <PresentationFormat>A4 Paper (210x297 mm)</PresentationFormat>
  <Paragraphs>56</Paragraphs>
  <Slides>11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Blank</vt:lpstr>
      <vt:lpstr>Closing slides</vt:lpstr>
      <vt:lpstr>Section break</vt:lpstr>
      <vt:lpstr>think-cell Slide</vt:lpstr>
      <vt:lpstr>       mBot</vt:lpstr>
      <vt:lpstr>mBot i mBlock</vt:lpstr>
      <vt:lpstr>[01] Dzwięki</vt:lpstr>
      <vt:lpstr>[02] Diody RGB</vt:lpstr>
      <vt:lpstr>[03] Pilot</vt:lpstr>
      <vt:lpstr>[04] Silniki</vt:lpstr>
      <vt:lpstr>[05] Sonar</vt:lpstr>
      <vt:lpstr>[06] Zdalnie sterowany robot</vt:lpstr>
      <vt:lpstr>[06] Robot śledzący linię</vt:lpstr>
      <vt:lpstr>Slide 10</vt:lpstr>
      <vt:lpstr>Slide 1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189</cp:revision>
  <dcterms:created xsi:type="dcterms:W3CDTF">2014-10-21T19:55:20Z</dcterms:created>
  <dcterms:modified xsi:type="dcterms:W3CDTF">2016-05-31T19:18:36Z</dcterms:modified>
</cp:coreProperties>
</file>